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7"/>
  </p:notes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71" r:id="rId14"/>
    <p:sldId id="269" r:id="rId15"/>
    <p:sldId id="272" r:id="rId16"/>
  </p:sldIdLst>
  <p:sldSz cx="12192000" cy="6858000"/>
  <p:notesSz cx="6858000" cy="9144000"/>
  <p:defaultTextStyle>
    <a:defPPr>
      <a:defRPr lang="en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638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8AF52A-CB1C-4C0F-8625-1C4F2E25EA2B}" type="datetimeFigureOut">
              <a:rPr lang="en-DE" smtClean="0"/>
              <a:t>12/05/2022</a:t>
            </a:fld>
            <a:endParaRPr lang="en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7B6AEA-4CAA-4447-A19D-91F9BFA8ED24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656346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A1FC14-F5B2-41FD-B451-DEC49F2463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49038CF-9AE5-48DC-9862-9C4B1F0A75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2A2973-22E5-4F74-8904-6D3E0D3E4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2D6C75-2BE8-4DAF-BC00-4F2E99FB2C15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CDE720-E3DC-4EA2-B31C-EC0182CDB5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1B5BBC-2C5D-414B-9983-ADA4FB6B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389308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0E0524-B558-4410-AE84-71BD23F3E8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92411E-13E8-4DA0-AFD6-FC10D30F09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A1F85A-255E-4590-BF54-B6E58A175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62098B-2026-468E-93D8-C5EC6CD9CA7A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2DB63F-D0C7-4CF9-A21C-4CD5A6757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631A7F-FED6-4ABE-A6DD-A13B9C138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47014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2F57F68-697D-4BA3-A54E-79BB20C063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E7B3E55-2AD7-4A74-9EED-5DE066FE19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767A42-DC47-42BA-9ADE-8F389D006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B5D82-ED78-4983-BD4E-DA4CAB2B6D42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59BF-2828-4D67-8882-7E9008308B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05A92-ACEB-485C-9ABA-837580004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66048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BFCAAA-2C9F-42EC-A155-A43E909052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5C7A57-7B5D-493B-8017-C36E8E44C0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69BD1-0B38-433E-A741-D3BF87B6C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0E95CE-1A9D-4D22-A128-D5AC9206C2AD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2A5574-5403-4E6E-990B-3D108D16C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905154-8750-4CB8-A132-50A637995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51020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7962D3-1409-42AC-BB60-CCFDFFCA78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5B8B3B-8428-4010-9871-9909460CA4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D124A7-D91A-417D-BAE7-39120C0F1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E2993B-1278-4E07-9442-98219B73F33F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786030-F86A-4456-A641-EBC2ED1C7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46530A-E668-4C77-8465-A37C5C4015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29555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51CAB1-4BA8-4015-A645-E2A1383C2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4A321B-B829-42EB-9BB7-475612A7C9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1433AC-3F28-44FB-80F3-EBE424E14A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D0A50C-1D88-486A-BDB7-893100329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558F7E-3A00-4D8A-9708-35A9BC4CEE35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09BAA30-89BB-43F7-A479-739D0EC88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C8D938-8E79-4BA1-AF23-FBE02118F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599840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2151B-D059-4E40-9420-850547B71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8D4F50-B639-4288-9F10-74325774B1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BBA9C9-B6D7-41BC-B753-C6B10CB708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D25E017-8A93-41D6-9D25-692FF6EC34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0FEE5F5-0B5F-4156-8809-88A7E27B568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C9B66E5-166D-4E59-9C18-9642D4E97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D61D7D-29A9-4622-B3DF-29BD199C36EB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3639D1-A3FB-48D2-B286-CEAC13BE4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631C6BE-26E8-4DBD-B094-FF245E8C8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482626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228C8-BD4C-4FF6-9476-F35D8835EE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8F97B9-4112-4D0B-9777-A6A19DE80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8A0E80-F942-45B4-95E3-94A349D132F9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699CD8E-FDA1-4904-B1B5-DC4EE7EA42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419032B-F319-47CA-BB92-4D88FC4DB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2231867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BDAB97-EBE3-4B94-8EAE-99080F9E70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0E78A5-B105-4A20-AC80-48A63B24053D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268163-3532-4ABD-9AF4-30E4F8A871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5FC56A-FD02-4AF6-88AA-C01690E43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410561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093BA1-1D5E-4AC4-AD60-AB9396F2D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999190-53A4-4C26-86E1-E88776AD2D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60E2E4-98ED-4895-B5AE-DF4EE98074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665C16-0EE6-49C5-BF27-BA89E64EC8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D7AA6-E5D0-4B96-9715-F3CAC8ADA69D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7B77C2-08BC-428D-B79A-1CF1385F6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3BE2051-89C5-4B71-BA7C-E5730F6EE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34287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860F45-C849-420C-982F-D969E9C890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6A4A0B0-6BB6-4B19-8D84-9D45A4936C9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F4D151-4EE9-4CA3-9E53-F717952FBD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C5C007-0321-4A54-AACA-DAC2C64EA0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86C95-941A-41EF-BC47-8FC69371B840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A3B9D5-58EC-4117-8B40-ECF34F204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46F429-C719-4A9B-BDDB-62771125A7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1118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464F47-1A15-410B-A1F4-129A7F7F5D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9B12F1-5D20-4778-8AF0-194BD24C27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C7D22D-5DB9-4C87-BC46-9BD177FD3B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2C3414-41F9-4AC3-84A4-CEDD2572A144}" type="datetime8">
              <a:rPr lang="en-DE" smtClean="0"/>
              <a:t>12/05/2022 17:34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E86D52-B64B-4291-B1B8-6F1EB53641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EB2BE6-7C14-4D43-8A96-8531B1A192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FAD602-3E45-4532-B624-E481050284F8}" type="slidenum">
              <a:rPr lang="en-DE" smtClean="0"/>
              <a:t>‹#›</a:t>
            </a:fld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107676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2204.06784.pdf" TargetMode="External"/><Relationship Id="rId2" Type="http://schemas.openxmlformats.org/officeDocument/2006/relationships/hyperlink" Target="https://github.com/microsoft/P.910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8DBA3-D4F4-463E-B81B-FFEA52AD0B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7801" y="1122363"/>
            <a:ext cx="9510199" cy="2306637"/>
          </a:xfrm>
        </p:spPr>
        <p:txBody>
          <a:bodyPr>
            <a:normAutofit/>
          </a:bodyPr>
          <a:lstStyle/>
          <a:p>
            <a:r>
              <a:rPr lang="en-US" sz="4400" dirty="0"/>
              <a:t>On subjective evaluation of video quality with the crowdsourcing approach</a:t>
            </a:r>
            <a:endParaRPr lang="en-DE" sz="44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FFA1F4D-C1F6-4827-B781-C2032F2EF0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45060" y="4292772"/>
            <a:ext cx="3896616" cy="1655762"/>
          </a:xfrm>
        </p:spPr>
        <p:txBody>
          <a:bodyPr/>
          <a:lstStyle/>
          <a:p>
            <a:r>
              <a:rPr lang="de-DE" dirty="0"/>
              <a:t>Babak Naderi</a:t>
            </a:r>
          </a:p>
          <a:p>
            <a:r>
              <a:rPr lang="de-DE" dirty="0"/>
              <a:t>TU-Berlin</a:t>
            </a:r>
            <a:endParaRPr lang="en-DE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E3EFB700-43E3-4AD7-B921-036FD2ADBE3A}"/>
              </a:ext>
            </a:extLst>
          </p:cNvPr>
          <p:cNvSpPr txBox="1">
            <a:spLocks/>
          </p:cNvSpPr>
          <p:nvPr/>
        </p:nvSpPr>
        <p:spPr>
          <a:xfrm>
            <a:off x="5906323" y="4292772"/>
            <a:ext cx="3896616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oss Cutler</a:t>
            </a:r>
          </a:p>
          <a:p>
            <a:r>
              <a:rPr lang="de-DE" dirty="0"/>
              <a:t>Microsoft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356638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en-US" dirty="0"/>
              <a:t>Reproduci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2791"/>
            <a:ext cx="2990440" cy="4894172"/>
          </a:xfrm>
        </p:spPr>
        <p:txBody>
          <a:bodyPr/>
          <a:lstStyle/>
          <a:p>
            <a:r>
              <a:rPr lang="en-US" dirty="0"/>
              <a:t>5 repetitions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10</a:t>
            </a:fld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686F7D-6F59-4FE7-8CC4-C6127A8E8D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0619" y="1195582"/>
            <a:ext cx="5439962" cy="359510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943BC50-DACC-4F1A-B96A-5F914CBE5D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2996" y="2466906"/>
            <a:ext cx="3519419" cy="359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8334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C12A4F-B719-45E7-A503-2A3875CFC9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lation study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BAAE27-4E95-4671-8B95-96B88B03B3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9DEC29-D01C-4130-B662-0B747023FE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11</a:t>
            </a:fld>
            <a:endParaRPr lang="en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962278-B0B2-41F6-89FB-32A5F9BFD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7507" y="1563052"/>
            <a:ext cx="6219825" cy="4371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2039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729780A-8A3E-436C-84B4-A4A325D32DBB}"/>
              </a:ext>
            </a:extLst>
          </p:cNvPr>
          <p:cNvSpPr txBox="1">
            <a:spLocks/>
          </p:cNvSpPr>
          <p:nvPr/>
        </p:nvSpPr>
        <p:spPr>
          <a:xfrm>
            <a:off x="838200" y="1282791"/>
            <a:ext cx="10515600" cy="4894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0" indent="0">
              <a:buFont typeface="Arial" panose="020B0604020202020204" pitchFamily="34" charset="0"/>
              <a:buNone/>
            </a:pPr>
            <a:endParaRPr lang="en-US" b="1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* CS-Lab:</a:t>
            </a:r>
            <a:r>
              <a:rPr lang="en-US" dirty="0"/>
              <a:t> statistic between subset of CS and Lab</a:t>
            </a:r>
          </a:p>
          <a:p>
            <a:pPr marL="0" indent="0">
              <a:buNone/>
            </a:pPr>
            <a:r>
              <a:rPr lang="en-US" b="1" dirty="0"/>
              <a:t>* CS-</a:t>
            </a:r>
            <a:r>
              <a:rPr lang="en-US" b="1" dirty="0" err="1"/>
              <a:t>Full_CS</a:t>
            </a:r>
            <a:r>
              <a:rPr lang="en-US" b="1" dirty="0"/>
              <a:t>:</a:t>
            </a:r>
            <a:r>
              <a:rPr lang="en-US" dirty="0"/>
              <a:t> statistic between subset of CS and Full C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otes</a:t>
            </a:r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12</a:t>
            </a:fld>
            <a:endParaRPr lang="en-DE"/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054CBB14-D839-432F-AC3D-982C979A63E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632" y="1103404"/>
            <a:ext cx="5205984" cy="3773424"/>
          </a:xfr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BE6583B-9DAB-46B2-8398-0FEE104219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016" y="1103404"/>
            <a:ext cx="5205984" cy="3773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2202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en-US" dirty="0"/>
              <a:t>Next step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2791"/>
            <a:ext cx="10515600" cy="4894172"/>
          </a:xfrm>
        </p:spPr>
        <p:txBody>
          <a:bodyPr/>
          <a:lstStyle/>
          <a:p>
            <a:r>
              <a:rPr lang="en-US" dirty="0"/>
              <a:t>Implementation</a:t>
            </a:r>
          </a:p>
          <a:p>
            <a:pPr lvl="1"/>
            <a:r>
              <a:rPr lang="en-US" dirty="0"/>
              <a:t>Annex E: advanced data Cleansing</a:t>
            </a:r>
          </a:p>
          <a:p>
            <a:pPr lvl="1"/>
            <a:r>
              <a:rPr lang="en-US" dirty="0"/>
              <a:t>Simultaneous presentation of sequence pairs</a:t>
            </a:r>
            <a:br>
              <a:rPr lang="en-US" dirty="0"/>
            </a:br>
            <a:endParaRPr lang="en-US" dirty="0"/>
          </a:p>
          <a:p>
            <a:r>
              <a:rPr lang="en-US" dirty="0"/>
              <a:t>Testing</a:t>
            </a:r>
          </a:p>
          <a:p>
            <a:pPr lvl="1"/>
            <a:r>
              <a:rPr lang="en-US" dirty="0"/>
              <a:t>Other datasets (?)</a:t>
            </a:r>
          </a:p>
          <a:p>
            <a:pPr lvl="1"/>
            <a:r>
              <a:rPr lang="en-US" dirty="0"/>
              <a:t>Crowdsourcing vs expert viewing</a:t>
            </a:r>
          </a:p>
          <a:p>
            <a:pPr lvl="1"/>
            <a:r>
              <a:rPr lang="en-US" dirty="0"/>
              <a:t>Perceptually lossless CRF for H.264 (and other codecs supported by modern browsers)</a:t>
            </a:r>
            <a:br>
              <a:rPr lang="en-US" dirty="0"/>
            </a:br>
            <a:endParaRPr lang="en-US" dirty="0"/>
          </a:p>
          <a:p>
            <a:r>
              <a:rPr lang="en-US" dirty="0"/>
              <a:t>Drafting the recommendation text</a:t>
            </a:r>
          </a:p>
          <a:p>
            <a:pPr lvl="1"/>
            <a:r>
              <a:rPr lang="en-US" dirty="0"/>
              <a:t>Evaluating the draft tex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13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1550728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EB35B-B443-400F-81EF-BC36C9401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9620" y="447041"/>
            <a:ext cx="10515600" cy="2142808"/>
          </a:xfrm>
        </p:spPr>
        <p:txBody>
          <a:bodyPr/>
          <a:lstStyle/>
          <a:p>
            <a:pPr algn="ctr"/>
            <a:r>
              <a:rPr lang="de-DE" b="1" dirty="0" err="1"/>
              <a:t>Thank</a:t>
            </a:r>
            <a:r>
              <a:rPr lang="de-DE" b="1" dirty="0"/>
              <a:t> </a:t>
            </a:r>
            <a:r>
              <a:rPr lang="de-DE" b="1" dirty="0" err="1"/>
              <a:t>you</a:t>
            </a:r>
            <a:br>
              <a:rPr lang="de-DE" b="1" dirty="0"/>
            </a:br>
            <a:endParaRPr lang="en-DE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76B7FF-F06D-4A08-9832-9DFF2D25D6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766060"/>
            <a:ext cx="10515600" cy="341090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b="1" dirty="0"/>
              <a:t>Q &amp; A?</a:t>
            </a:r>
          </a:p>
          <a:p>
            <a:pPr marL="0" indent="0" algn="ctr">
              <a:buNone/>
            </a:pPr>
            <a:endParaRPr lang="en-US" sz="3600" b="1" dirty="0"/>
          </a:p>
          <a:p>
            <a:pPr marL="0" indent="0" algn="ctr">
              <a:buNone/>
            </a:pPr>
            <a:r>
              <a:rPr lang="en-US" sz="2400" b="1" dirty="0"/>
              <a:t>Open-sourced platform: </a:t>
            </a:r>
            <a:br>
              <a:rPr lang="en-US" sz="2400" b="1" dirty="0"/>
            </a:br>
            <a:r>
              <a:rPr lang="en-US" sz="2400" b="1" dirty="0">
                <a:hlinkClick r:id="rId2"/>
              </a:rPr>
              <a:t>https://github.com/microsoft/P.910</a:t>
            </a:r>
            <a:endParaRPr lang="en-US" sz="2400" b="1" dirty="0"/>
          </a:p>
          <a:p>
            <a:pPr marL="0" indent="0" algn="ctr">
              <a:buNone/>
            </a:pPr>
            <a:endParaRPr lang="en-US" sz="2400" b="1" dirty="0"/>
          </a:p>
          <a:p>
            <a:pPr marL="0" indent="0" algn="ctr">
              <a:buNone/>
            </a:pPr>
            <a:r>
              <a:rPr lang="en-US" sz="2400" b="1" dirty="0"/>
              <a:t>Details:</a:t>
            </a:r>
            <a:br>
              <a:rPr lang="en-US" sz="2400" b="1" dirty="0"/>
            </a:br>
            <a:r>
              <a:rPr lang="en-US" sz="2400" b="1" dirty="0">
                <a:hlinkClick r:id="rId3"/>
              </a:rPr>
              <a:t>https://arxiv.org/pdf/2204.06784.pdf</a:t>
            </a:r>
            <a:endParaRPr lang="en-US" sz="2400" b="1" dirty="0"/>
          </a:p>
          <a:p>
            <a:pPr marL="0" indent="0" algn="ctr">
              <a:buNone/>
            </a:pPr>
            <a:endParaRPr lang="en-US" sz="2400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F63DC0-2EBB-441F-A075-9AF579B364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3EAEA5-14F6-4ED8-8D44-9398C5704A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14</a:t>
            </a:fld>
            <a:endParaRPr lang="en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BE15C0-7CF7-4B01-8D1D-C04F02AE7C60}"/>
              </a:ext>
            </a:extLst>
          </p:cNvPr>
          <p:cNvSpPr txBox="1"/>
          <p:nvPr/>
        </p:nvSpPr>
        <p:spPr>
          <a:xfrm>
            <a:off x="3815080" y="1891536"/>
            <a:ext cx="47955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800" b="1" dirty="0" err="1">
                <a:solidFill>
                  <a:srgbClr val="C00000"/>
                </a:solidFill>
              </a:rPr>
              <a:t>How</a:t>
            </a:r>
            <a:r>
              <a:rPr lang="de-DE" sz="2800" b="1" dirty="0">
                <a:solidFill>
                  <a:srgbClr val="C00000"/>
                </a:solidFill>
              </a:rPr>
              <a:t> </a:t>
            </a:r>
            <a:r>
              <a:rPr lang="de-DE" sz="2800" b="1" dirty="0" err="1">
                <a:solidFill>
                  <a:srgbClr val="C00000"/>
                </a:solidFill>
              </a:rPr>
              <a:t>can</a:t>
            </a:r>
            <a:r>
              <a:rPr lang="de-DE" sz="2800" b="1" dirty="0">
                <a:solidFill>
                  <a:srgbClr val="C00000"/>
                </a:solidFill>
              </a:rPr>
              <a:t> </a:t>
            </a:r>
            <a:r>
              <a:rPr lang="de-DE" sz="2800" b="1" dirty="0" err="1">
                <a:solidFill>
                  <a:srgbClr val="C00000"/>
                </a:solidFill>
              </a:rPr>
              <a:t>we</a:t>
            </a:r>
            <a:r>
              <a:rPr lang="de-DE" sz="2800" b="1" dirty="0">
                <a:solidFill>
                  <a:srgbClr val="C00000"/>
                </a:solidFill>
              </a:rPr>
              <a:t> </a:t>
            </a:r>
            <a:r>
              <a:rPr lang="de-DE" sz="2800" b="1" dirty="0" err="1">
                <a:solidFill>
                  <a:srgbClr val="C00000"/>
                </a:solidFill>
              </a:rPr>
              <a:t>improve</a:t>
            </a:r>
            <a:r>
              <a:rPr lang="de-DE" sz="2800" b="1" dirty="0">
                <a:solidFill>
                  <a:srgbClr val="C00000"/>
                </a:solidFill>
              </a:rPr>
              <a:t> </a:t>
            </a:r>
            <a:r>
              <a:rPr lang="de-DE" sz="2800" b="1" dirty="0" err="1">
                <a:solidFill>
                  <a:srgbClr val="C00000"/>
                </a:solidFill>
              </a:rPr>
              <a:t>it</a:t>
            </a:r>
            <a:r>
              <a:rPr lang="de-DE" sz="2800" b="1" dirty="0">
                <a:solidFill>
                  <a:srgbClr val="C00000"/>
                </a:solidFill>
              </a:rPr>
              <a:t>?</a:t>
            </a:r>
            <a:endParaRPr lang="en-US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947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B71E7B-627E-4622-960C-D7D3D08D7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lt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19BC2D-EC26-4C5F-B0EC-03E90392E3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Pass the hardware and network test</a:t>
            </a:r>
          </a:p>
          <a:p>
            <a:r>
              <a:rPr lang="en-US" dirty="0"/>
              <a:t>Qualification/Setup are checked online but also partly in data cleansing</a:t>
            </a:r>
          </a:p>
          <a:p>
            <a:r>
              <a:rPr lang="en-US" dirty="0"/>
              <a:t>Ratings will be </a:t>
            </a:r>
            <a:r>
              <a:rPr lang="en-US" b="1" i="1" dirty="0">
                <a:solidFill>
                  <a:srgbClr val="FF0000"/>
                </a:solidFill>
              </a:rPr>
              <a:t>Accepted</a:t>
            </a:r>
            <a:r>
              <a:rPr lang="en-US" dirty="0"/>
              <a:t> if:</a:t>
            </a:r>
          </a:p>
          <a:p>
            <a:pPr lvl="1"/>
            <a:r>
              <a:rPr lang="en-US" dirty="0"/>
              <a:t>Played all videos, brightness test (at least one), trap question, </a:t>
            </a:r>
          </a:p>
          <a:p>
            <a:pPr lvl="1"/>
            <a:r>
              <a:rPr lang="en-US" dirty="0"/>
              <a:t>(optional): gold question, minimum acceptance rate</a:t>
            </a:r>
          </a:p>
          <a:p>
            <a:r>
              <a:rPr lang="en-US" dirty="0"/>
              <a:t>Ratings will be </a:t>
            </a:r>
            <a:r>
              <a:rPr lang="en-US" b="1" i="1" dirty="0">
                <a:solidFill>
                  <a:srgbClr val="FF0000"/>
                </a:solidFill>
              </a:rPr>
              <a:t>Used</a:t>
            </a:r>
            <a:r>
              <a:rPr lang="en-US" dirty="0"/>
              <a:t> if:</a:t>
            </a:r>
          </a:p>
          <a:p>
            <a:pPr lvl="1"/>
            <a:r>
              <a:rPr lang="en-US" dirty="0"/>
              <a:t>Be accepted</a:t>
            </a:r>
          </a:p>
          <a:p>
            <a:pPr lvl="1"/>
            <a:r>
              <a:rPr lang="en-US" dirty="0"/>
              <a:t>Variance in ratings, gold question, viewing duration, brightness test (both), minimum acceptance rate, outlier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1257D5-6565-44FA-9EF8-507AE5ED8C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3FD0BC-6733-4833-8FFF-4648B6008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15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497132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2791"/>
            <a:ext cx="10515600" cy="4894172"/>
          </a:xfrm>
        </p:spPr>
        <p:txBody>
          <a:bodyPr/>
          <a:lstStyle/>
          <a:p>
            <a:r>
              <a:rPr lang="en-US" dirty="0" err="1">
                <a:solidFill>
                  <a:srgbClr val="C00000"/>
                </a:solidFill>
              </a:rPr>
              <a:t>P.CrowdV</a:t>
            </a:r>
            <a:r>
              <a:rPr lang="en-US" dirty="0">
                <a:solidFill>
                  <a:srgbClr val="C00000"/>
                </a:solidFill>
              </a:rPr>
              <a:t> </a:t>
            </a:r>
            <a:r>
              <a:rPr lang="en-US" dirty="0"/>
              <a:t>is a work item in ITU-T SG12 Q7 aiming to draft counterpart of P.910/11 for crowdsourcing</a:t>
            </a:r>
          </a:p>
          <a:p>
            <a:endParaRPr lang="en-US" dirty="0"/>
          </a:p>
          <a:p>
            <a:r>
              <a:rPr lang="en-US" dirty="0"/>
              <a:t>Crowdsourcing</a:t>
            </a:r>
          </a:p>
          <a:p>
            <a:pPr lvl="1"/>
            <a:r>
              <a:rPr lang="en-US" dirty="0">
                <a:solidFill>
                  <a:srgbClr val="C00000"/>
                </a:solidFill>
              </a:rPr>
              <a:t>Unknow</a:t>
            </a:r>
            <a:r>
              <a:rPr lang="en-US" dirty="0"/>
              <a:t> participants</a:t>
            </a:r>
          </a:p>
          <a:p>
            <a:pPr lvl="1"/>
            <a:r>
              <a:rPr lang="en-US" dirty="0"/>
              <a:t>Working at own </a:t>
            </a:r>
            <a:r>
              <a:rPr lang="en-US" dirty="0">
                <a:solidFill>
                  <a:srgbClr val="C00000"/>
                </a:solidFill>
              </a:rPr>
              <a:t>environment</a:t>
            </a:r>
          </a:p>
          <a:p>
            <a:pPr lvl="1"/>
            <a:r>
              <a:rPr lang="en-US" dirty="0"/>
              <a:t>Using own </a:t>
            </a:r>
            <a:r>
              <a:rPr lang="en-US" dirty="0">
                <a:solidFill>
                  <a:srgbClr val="C00000"/>
                </a:solidFill>
              </a:rPr>
              <a:t>devices</a:t>
            </a:r>
          </a:p>
          <a:p>
            <a:pPr lvl="1"/>
            <a:r>
              <a:rPr lang="en-US" dirty="0"/>
              <a:t>No moderator</a:t>
            </a:r>
          </a:p>
          <a:p>
            <a:endParaRPr lang="en-US" dirty="0"/>
          </a:p>
          <a:p>
            <a:r>
              <a:rPr lang="en-US" dirty="0"/>
              <a:t>We introduce an open-source framework with participant eligibility tests, environment and setup tests and reliability check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On subjective evaluation of video quality with the crowdsourcing approach</a:t>
            </a: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2</a:t>
            </a:fld>
            <a:endParaRPr lang="en-DE"/>
          </a:p>
        </p:txBody>
      </p:sp>
      <p:pic>
        <p:nvPicPr>
          <p:cNvPr id="6" name="Picture 4" descr="DSCF0017s">
            <a:extLst>
              <a:ext uri="{FF2B5EF4-FFF2-40B4-BE49-F238E27FC236}">
                <a16:creationId xmlns:a16="http://schemas.microsoft.com/office/drawing/2014/main" id="{3DF18783-1D8F-4172-A871-752A579D075F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938" y="1945925"/>
            <a:ext cx="3954866" cy="296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5946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-7.40741E-7 L 0.09896 -0.25741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948" y="-128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de-DE" dirty="0"/>
              <a:t>Framework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282791"/>
            <a:ext cx="6395977" cy="4894172"/>
          </a:xfrm>
        </p:spPr>
        <p:txBody>
          <a:bodyPr/>
          <a:lstStyle/>
          <a:p>
            <a:r>
              <a:rPr lang="en-US" dirty="0"/>
              <a:t>Multiple scripts to automate the process</a:t>
            </a:r>
          </a:p>
          <a:p>
            <a:r>
              <a:rPr lang="en-US" dirty="0"/>
              <a:t>Test methods</a:t>
            </a:r>
          </a:p>
          <a:p>
            <a:pPr lvl="1"/>
            <a:r>
              <a:rPr lang="en-US" dirty="0"/>
              <a:t>ACR</a:t>
            </a:r>
          </a:p>
          <a:p>
            <a:pPr lvl="1"/>
            <a:r>
              <a:rPr lang="en-US" dirty="0"/>
              <a:t>ACR – Hidden reference</a:t>
            </a:r>
          </a:p>
          <a:p>
            <a:pPr lvl="1"/>
            <a:r>
              <a:rPr lang="en-US" dirty="0"/>
              <a:t>DCR</a:t>
            </a:r>
          </a:p>
          <a:p>
            <a:r>
              <a:rPr lang="en-US" dirty="0"/>
              <a:t>Scales</a:t>
            </a:r>
          </a:p>
          <a:p>
            <a:pPr lvl="1"/>
            <a:r>
              <a:rPr lang="en-US" dirty="0"/>
              <a:t>5 and 9 points Likert scale</a:t>
            </a:r>
          </a:p>
          <a:p>
            <a:r>
              <a:rPr lang="en-US" dirty="0"/>
              <a:t>It can be used with any crowdsourcing platform or dedicated panel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On subjective evaluation of video quality with the crowdsourcing approach</a:t>
            </a:r>
            <a:endParaRPr lang="en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3</a:t>
            </a:fld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B17DEA-FA5C-4344-94E1-758CFD6162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7114" y="1552506"/>
            <a:ext cx="5191026" cy="3522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887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de-DE" dirty="0"/>
              <a:t>Test </a:t>
            </a:r>
            <a:r>
              <a:rPr lang="en-US" dirty="0"/>
              <a:t>compon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644523"/>
            <a:ext cx="10672482" cy="3532439"/>
          </a:xfrm>
        </p:spPr>
        <p:txBody>
          <a:bodyPr>
            <a:normAutofit/>
          </a:bodyPr>
          <a:lstStyle/>
          <a:p>
            <a:r>
              <a:rPr lang="en-US" dirty="0"/>
              <a:t>The test is designed in different sections from participants perspective</a:t>
            </a:r>
          </a:p>
          <a:p>
            <a:r>
              <a:rPr lang="en-US" dirty="0">
                <a:solidFill>
                  <a:srgbClr val="C00000"/>
                </a:solidFill>
              </a:rPr>
              <a:t>Rating</a:t>
            </a:r>
            <a:r>
              <a:rPr lang="en-US" dirty="0"/>
              <a:t> sections: 10-12 clips to be rated</a:t>
            </a:r>
          </a:p>
          <a:p>
            <a:r>
              <a:rPr lang="en-US" dirty="0"/>
              <a:t>Background hardware/network checks: </a:t>
            </a:r>
          </a:p>
          <a:p>
            <a:pPr lvl="1"/>
            <a:r>
              <a:rPr lang="en-US" dirty="0"/>
              <a:t>Resolution</a:t>
            </a:r>
          </a:p>
          <a:p>
            <a:pPr lvl="1"/>
            <a:r>
              <a:rPr lang="en-US" dirty="0"/>
              <a:t>Screen refresh rate</a:t>
            </a:r>
          </a:p>
          <a:p>
            <a:pPr lvl="1"/>
            <a:r>
              <a:rPr lang="en-US" dirty="0"/>
              <a:t>PC or Mobile</a:t>
            </a:r>
          </a:p>
          <a:p>
            <a:pPr lvl="1"/>
            <a:r>
              <a:rPr lang="en-US" dirty="0"/>
              <a:t>Network test</a:t>
            </a:r>
          </a:p>
          <a:p>
            <a:endParaRPr lang="en-US" dirty="0">
              <a:solidFill>
                <a:srgbClr val="C00000"/>
              </a:solidFill>
            </a:endParaRPr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4</a:t>
            </a:fld>
            <a:endParaRPr lang="en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B1AA7C6-7CE3-4B97-A66D-96CC4D7E79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1203" y="1043113"/>
            <a:ext cx="8900599" cy="147754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EE5F183-0D28-4DB9-BB90-BF5DE27503D5}"/>
              </a:ext>
            </a:extLst>
          </p:cNvPr>
          <p:cNvSpPr txBox="1"/>
          <p:nvPr/>
        </p:nvSpPr>
        <p:spPr>
          <a:xfrm>
            <a:off x="6909464" y="3618197"/>
            <a:ext cx="5282536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/>
              <a:t>Video playback component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/>
              <a:t>Full-screen (with/-out scaling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/>
              <a:t>Record playback dur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800" dirty="0"/>
              <a:t>Force to watch until the e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8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C4B6603-15D3-40DA-AF4A-C56A565C31FB}"/>
              </a:ext>
            </a:extLst>
          </p:cNvPr>
          <p:cNvSpPr/>
          <p:nvPr/>
        </p:nvSpPr>
        <p:spPr>
          <a:xfrm>
            <a:off x="8900599" y="1053413"/>
            <a:ext cx="1486722" cy="142202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EBC9BB-A9A3-4C03-BDA4-EF12D66CAA27}"/>
              </a:ext>
            </a:extLst>
          </p:cNvPr>
          <p:cNvSpPr/>
          <p:nvPr/>
        </p:nvSpPr>
        <p:spPr>
          <a:xfrm>
            <a:off x="3066638" y="1053413"/>
            <a:ext cx="5748441" cy="142202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417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en-US" dirty="0"/>
              <a:t>Qualif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2791"/>
            <a:ext cx="4984376" cy="4894172"/>
          </a:xfrm>
        </p:spPr>
        <p:txBody>
          <a:bodyPr/>
          <a:lstStyle/>
          <a:p>
            <a:r>
              <a:rPr lang="en-US" dirty="0"/>
              <a:t>Normal color vision Test</a:t>
            </a:r>
          </a:p>
          <a:p>
            <a:pPr lvl="1"/>
            <a:r>
              <a:rPr lang="en-US" dirty="0"/>
              <a:t>2 plates from Ishihara test</a:t>
            </a:r>
          </a:p>
          <a:p>
            <a:pPr marL="0" indent="0">
              <a:buNone/>
            </a:pPr>
            <a:r>
              <a:rPr lang="en-US" dirty="0"/>
              <a:t>Pretest:</a:t>
            </a:r>
          </a:p>
          <a:p>
            <a:r>
              <a:rPr lang="en-US" sz="1800" dirty="0"/>
              <a:t>300 AMT and 191 from online color-blind communities</a:t>
            </a:r>
          </a:p>
          <a:p>
            <a:r>
              <a:rPr lang="en-US" sz="1800" dirty="0"/>
              <a:t>Decision tree: 98% accuracy (sensitivity 0.996, specificity 0.95)</a:t>
            </a:r>
          </a:p>
          <a:p>
            <a:pPr marL="457200" lvl="1" indent="0">
              <a:buNone/>
            </a:pPr>
            <a:r>
              <a:rPr lang="en-US" dirty="0"/>
              <a:t>	</a:t>
            </a:r>
          </a:p>
          <a:p>
            <a:pPr lvl="1"/>
            <a:endParaRPr lang="en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5</a:t>
            </a:fld>
            <a:endParaRPr lang="en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C8889B4-D412-4065-BE72-3A0A81B075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25" y="3867465"/>
            <a:ext cx="4428004" cy="2261872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DE63876-1B43-412E-AFAB-BC15AD9337AA}"/>
              </a:ext>
            </a:extLst>
          </p:cNvPr>
          <p:cNvSpPr txBox="1">
            <a:spLocks/>
          </p:cNvSpPr>
          <p:nvPr/>
        </p:nvSpPr>
        <p:spPr>
          <a:xfrm>
            <a:off x="6397999" y="1282791"/>
            <a:ext cx="4984376" cy="4894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ormal or corrected-to-normal Visual Acuity</a:t>
            </a:r>
          </a:p>
          <a:p>
            <a:r>
              <a:rPr lang="en-US" sz="2000" dirty="0"/>
              <a:t>No error on the 20/30 line of a standard chart:</a:t>
            </a:r>
          </a:p>
          <a:p>
            <a:r>
              <a:rPr lang="en-US" sz="2000" dirty="0"/>
              <a:t> 5 </a:t>
            </a:r>
            <a:r>
              <a:rPr lang="en-US" sz="2000" dirty="0" err="1"/>
              <a:t>Landolt</a:t>
            </a:r>
            <a:r>
              <a:rPr lang="en-US" sz="2000" dirty="0"/>
              <a:t> ring optotypes</a:t>
            </a:r>
            <a:r>
              <a:rPr lang="en-US" dirty="0"/>
              <a:t>	</a:t>
            </a:r>
          </a:p>
          <a:p>
            <a:pPr lvl="1"/>
            <a:endParaRPr lang="en-DE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7542E61-96C9-470E-9E09-42290893F6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59734" y="3429000"/>
            <a:ext cx="4208401" cy="25807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959657-B7F9-451A-B2CA-D6CAC5DD6A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50273" y="2939745"/>
            <a:ext cx="1717862" cy="285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053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de-DE" dirty="0"/>
              <a:t>Setup I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2791"/>
            <a:ext cx="10515600" cy="4894172"/>
          </a:xfrm>
        </p:spPr>
        <p:txBody>
          <a:bodyPr/>
          <a:lstStyle/>
          <a:p>
            <a:r>
              <a:rPr lang="en-US" dirty="0"/>
              <a:t>Ask to perform </a:t>
            </a:r>
            <a:r>
              <a:rPr lang="en-US" dirty="0">
                <a:solidFill>
                  <a:srgbClr val="C00000"/>
                </a:solidFill>
              </a:rPr>
              <a:t>Resolution, Color and Brightness Calibration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6</a:t>
            </a:fld>
            <a:endParaRPr lang="en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645A27-A44D-42F5-A47A-9CE8F00993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9728" y="1981750"/>
            <a:ext cx="4273934" cy="309261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8FFD0AC-F1AD-4154-BFE2-52B0D9612F5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313"/>
          <a:stretch/>
        </p:blipFill>
        <p:spPr>
          <a:xfrm>
            <a:off x="5811012" y="1981750"/>
            <a:ext cx="4684776" cy="294548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EAD4D76-8F97-42E8-98FB-86976976B9A2}"/>
              </a:ext>
            </a:extLst>
          </p:cNvPr>
          <p:cNvSpPr txBox="1"/>
          <p:nvPr/>
        </p:nvSpPr>
        <p:spPr>
          <a:xfrm>
            <a:off x="7628562" y="5071961"/>
            <a:ext cx="12811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C00000"/>
                </a:solidFill>
              </a:rPr>
              <a:t>4 circles</a:t>
            </a:r>
            <a:br>
              <a:rPr lang="en-US" dirty="0">
                <a:solidFill>
                  <a:srgbClr val="C00000"/>
                </a:solidFill>
              </a:rPr>
            </a:br>
            <a:r>
              <a:rPr lang="en-US" dirty="0">
                <a:solidFill>
                  <a:srgbClr val="C00000"/>
                </a:solidFill>
              </a:rPr>
              <a:t>10 triangles</a:t>
            </a:r>
          </a:p>
        </p:txBody>
      </p:sp>
    </p:spTree>
    <p:extLst>
      <p:ext uri="{BB962C8B-B14F-4D97-AF65-F5344CB8AC3E}">
        <p14:creationId xmlns:p14="http://schemas.microsoft.com/office/powerpoint/2010/main" val="18445393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de-DE" dirty="0"/>
              <a:t>Setup II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2791"/>
            <a:ext cx="3973676" cy="4894172"/>
          </a:xfrm>
        </p:spPr>
        <p:txBody>
          <a:bodyPr/>
          <a:lstStyle/>
          <a:p>
            <a:r>
              <a:rPr lang="en-US" dirty="0"/>
              <a:t>Viewing distance test</a:t>
            </a:r>
          </a:p>
          <a:p>
            <a:r>
              <a:rPr lang="en-US" dirty="0"/>
              <a:t>3x image pairs</a:t>
            </a:r>
          </a:p>
          <a:p>
            <a:r>
              <a:rPr lang="en-US" dirty="0"/>
              <a:t>Blur effect, detected if</a:t>
            </a:r>
          </a:p>
          <a:p>
            <a:pPr lvl="1"/>
            <a:r>
              <a:rPr lang="en-US" dirty="0"/>
              <a:t>Too close</a:t>
            </a:r>
          </a:p>
          <a:p>
            <a:pPr lvl="1"/>
            <a:r>
              <a:rPr lang="en-US" dirty="0"/>
              <a:t>In proper distance</a:t>
            </a:r>
          </a:p>
          <a:p>
            <a:pPr lvl="1"/>
            <a:r>
              <a:rPr lang="en-US" dirty="0"/>
              <a:t>Even if too far</a:t>
            </a:r>
          </a:p>
          <a:p>
            <a:pPr lvl="1"/>
            <a:endParaRPr lang="en-US" dirty="0"/>
          </a:p>
          <a:p>
            <a:r>
              <a:rPr lang="en-US" dirty="0"/>
              <a:t>Custom feedback asking to adjust their distanc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7</a:t>
            </a:fld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125551B-9B9E-43E1-9F57-089079B5C4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1876" y="1828009"/>
            <a:ext cx="7010875" cy="349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497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de-DE" dirty="0"/>
              <a:t>Training + Rating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82791"/>
            <a:ext cx="10515600" cy="4894172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Training</a:t>
            </a:r>
          </a:p>
          <a:p>
            <a:r>
              <a:rPr lang="en-US" dirty="0"/>
              <a:t>Every 60 minutes</a:t>
            </a:r>
          </a:p>
          <a:p>
            <a:r>
              <a:rPr lang="en-US" dirty="0"/>
              <a:t>Anchoring</a:t>
            </a:r>
          </a:p>
          <a:p>
            <a:r>
              <a:rPr lang="en-US" dirty="0"/>
              <a:t>One trapping question with feedback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atings</a:t>
            </a:r>
          </a:p>
          <a:p>
            <a:r>
              <a:rPr lang="en-US" dirty="0"/>
              <a:t>10 clips + 1 gold question + 1 trapp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8</a:t>
            </a:fld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3DE0ED-A179-45B1-B672-F7865D9C18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62825" y="1485900"/>
            <a:ext cx="3990975" cy="38862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309990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86F6C-7896-4BA4-9A29-3AD6EC12D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2941"/>
          </a:xfrm>
        </p:spPr>
        <p:txBody>
          <a:bodyPr/>
          <a:lstStyle/>
          <a:p>
            <a:r>
              <a:rPr lang="de-DE" dirty="0"/>
              <a:t>Validation</a:t>
            </a:r>
            <a:endParaRPr lang="en-D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1C27CE-8FF7-48B1-857D-A5E906FE52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282791"/>
            <a:ext cx="4444269" cy="4894172"/>
          </a:xfrm>
        </p:spPr>
        <p:txBody>
          <a:bodyPr/>
          <a:lstStyle/>
          <a:p>
            <a:r>
              <a:rPr lang="en-US" dirty="0"/>
              <a:t>VQEG HD3 and VQEG HD5</a:t>
            </a:r>
          </a:p>
          <a:p>
            <a:pPr lvl="1"/>
            <a:r>
              <a:rPr lang="en-US" dirty="0"/>
              <a:t>168 sequences</a:t>
            </a:r>
          </a:p>
          <a:p>
            <a:r>
              <a:rPr lang="en-US" dirty="0"/>
              <a:t>Videos re-encoded using x264, CRF 17</a:t>
            </a:r>
          </a:p>
          <a:p>
            <a:endParaRPr lang="en-US" dirty="0"/>
          </a:p>
          <a:p>
            <a:r>
              <a:rPr lang="en-US" dirty="0"/>
              <a:t>On average PCC 0.952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F53437-F827-4178-A156-C5002D7393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n subjective evaluation of video quality with the crowdsourcing approach</a:t>
            </a:r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56A5793-88B7-440F-BB5B-777B4FEC2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FAD602-3E45-4532-B624-E481050284F8}" type="slidenum">
              <a:rPr lang="en-DE" smtClean="0"/>
              <a:t>9</a:t>
            </a:fld>
            <a:endParaRPr lang="en-D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EFB78A9-F165-470A-9EEB-22366073B0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1797" y="365125"/>
            <a:ext cx="5701480" cy="29233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5E5BBEA-5984-4BBF-9D35-C397A3D98D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0010" y="3432980"/>
            <a:ext cx="5213790" cy="292337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A40800-7FF8-4F1A-B1B5-4496DC631552}"/>
              </a:ext>
            </a:extLst>
          </p:cNvPr>
          <p:cNvSpPr txBox="1"/>
          <p:nvPr/>
        </p:nvSpPr>
        <p:spPr>
          <a:xfrm>
            <a:off x="7582594" y="6027199"/>
            <a:ext cx="11984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VQEG-HD3</a:t>
            </a:r>
            <a:endParaRPr lang="en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25C6D45-9477-49C2-B04A-AF20F80259C0}"/>
              </a:ext>
            </a:extLst>
          </p:cNvPr>
          <p:cNvSpPr txBox="1"/>
          <p:nvPr/>
        </p:nvSpPr>
        <p:spPr>
          <a:xfrm>
            <a:off x="10160785" y="6033607"/>
            <a:ext cx="11984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VQEG-HD5</a:t>
            </a:r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42930570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S0855a1k.15tejAg9IN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2</TotalTime>
  <Words>586</Words>
  <Application>Microsoft Office PowerPoint</Application>
  <PresentationFormat>Widescreen</PresentationFormat>
  <Paragraphs>141</Paragraphs>
  <Slides>1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9" baseType="lpstr">
      <vt:lpstr>Arial</vt:lpstr>
      <vt:lpstr>Calibri</vt:lpstr>
      <vt:lpstr>Calibri Light</vt:lpstr>
      <vt:lpstr>Office Theme</vt:lpstr>
      <vt:lpstr>On subjective evaluation of video quality with the crowdsourcing approach</vt:lpstr>
      <vt:lpstr>Introduction</vt:lpstr>
      <vt:lpstr>Framework</vt:lpstr>
      <vt:lpstr>Test components</vt:lpstr>
      <vt:lpstr>Qualification</vt:lpstr>
      <vt:lpstr>Setup I</vt:lpstr>
      <vt:lpstr>Setup II</vt:lpstr>
      <vt:lpstr>Training + Rating</vt:lpstr>
      <vt:lpstr>Validation</vt:lpstr>
      <vt:lpstr>Reproducibility</vt:lpstr>
      <vt:lpstr>Ablation study</vt:lpstr>
      <vt:lpstr>Number of votes</vt:lpstr>
      <vt:lpstr>Next steps…</vt:lpstr>
      <vt:lpstr>Thank you </vt:lpstr>
      <vt:lpstr>Filter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 subjective evaluation of video quality with the crowdsourcing approach</dc:title>
  <dc:creator>Babak N</dc:creator>
  <cp:lastModifiedBy>Babak N</cp:lastModifiedBy>
  <cp:revision>51</cp:revision>
  <dcterms:created xsi:type="dcterms:W3CDTF">2022-05-05T21:00:29Z</dcterms:created>
  <dcterms:modified xsi:type="dcterms:W3CDTF">2022-05-12T16:02:42Z</dcterms:modified>
</cp:coreProperties>
</file>